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10"/>
  </p:handoutMasterIdLst>
  <p:sldIdLst>
    <p:sldId id="256" r:id="rId2"/>
    <p:sldId id="260" r:id="rId3"/>
    <p:sldId id="257" r:id="rId4"/>
    <p:sldId id="261" r:id="rId5"/>
    <p:sldId id="258" r:id="rId6"/>
    <p:sldId id="262" r:id="rId7"/>
    <p:sldId id="259" r:id="rId8"/>
    <p:sldId id="263" r:id="rId9"/>
  </p:sldIdLst>
  <p:sldSz cx="7561263" cy="5329238"/>
  <p:notesSz cx="6858000" cy="9144000"/>
  <p:defaultTextStyle>
    <a:defPPr>
      <a:defRPr lang="fr-FR"/>
    </a:defPPr>
    <a:lvl1pPr marL="0" algn="l" defTabSz="73654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8275" algn="l" defTabSz="73654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736549" algn="l" defTabSz="73654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104824" algn="l" defTabSz="73654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473098" algn="l" defTabSz="73654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841373" algn="l" defTabSz="73654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209648" algn="l" defTabSz="73654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577922" algn="l" defTabSz="73654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946197" algn="l" defTabSz="73654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58" d="100"/>
          <a:sy n="158" d="100"/>
        </p:scale>
        <p:origin x="-1182" y="24"/>
      </p:cViewPr>
      <p:guideLst>
        <p:guide orient="horz" pos="1679"/>
        <p:guide pos="238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6" d="100"/>
          <a:sy n="56" d="100"/>
        </p:scale>
        <p:origin x="-2886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04C4A-5B82-46AE-B199-A0A45906F6CA}" type="datetimeFigureOut">
              <a:rPr lang="fr-FR" smtClean="0"/>
              <a:t>14/08/201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37B94-C334-4521-B9EB-16CEEBAD890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140695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67095" y="1655518"/>
            <a:ext cx="6427074" cy="1142332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134190" y="3019902"/>
            <a:ext cx="5292884" cy="136191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68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5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8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30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1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96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79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61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378063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8DF5C060-B99C-45CF-B3F9-27F160C41679}" type="datetimeFigureOut">
              <a:rPr lang="fr-FR" smtClean="0"/>
              <a:t>14/08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83432" y="4939414"/>
            <a:ext cx="2394400" cy="28373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418905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1050F1C4-CE79-4FC4-A716-4889E772F5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334208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78063" y="213417"/>
            <a:ext cx="6805137" cy="888206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378063" y="1243489"/>
            <a:ext cx="6805137" cy="3517051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378063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8DF5C060-B99C-45CF-B3F9-27F160C41679}" type="datetimeFigureOut">
              <a:rPr lang="fr-FR" smtClean="0"/>
              <a:t>14/08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83432" y="4939414"/>
            <a:ext cx="2394400" cy="28373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418905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1050F1C4-CE79-4FC4-A716-4889E772F5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373527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4534133" y="165305"/>
            <a:ext cx="1405923" cy="3534321"/>
          </a:xfrm>
          <a:prstGeom prst="rect">
            <a:avLst/>
          </a:prstGeo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312427" y="165305"/>
            <a:ext cx="4095684" cy="3534321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378063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8DF5C060-B99C-45CF-B3F9-27F160C41679}" type="datetimeFigureOut">
              <a:rPr lang="fr-FR" smtClean="0"/>
              <a:t>14/08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83432" y="4939414"/>
            <a:ext cx="2394400" cy="28373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418905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1050F1C4-CE79-4FC4-A716-4889E772F5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463514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78063" y="213417"/>
            <a:ext cx="6805137" cy="888206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78063" y="1243489"/>
            <a:ext cx="6805137" cy="351705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378063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8DF5C060-B99C-45CF-B3F9-27F160C41679}" type="datetimeFigureOut">
              <a:rPr lang="fr-FR" smtClean="0"/>
              <a:t>14/08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83432" y="4939414"/>
            <a:ext cx="2394400" cy="28373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418905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1050F1C4-CE79-4FC4-A716-4889E772F5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089175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97287" y="3424529"/>
            <a:ext cx="6427074" cy="1058446"/>
          </a:xfrm>
          <a:prstGeom prst="rect">
            <a:avLst/>
          </a:prstGeo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97287" y="2258759"/>
            <a:ext cx="6427074" cy="116577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36827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736549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3pPr>
            <a:lvl4pPr marL="1104824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473098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841373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209648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577922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946197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378063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8DF5C060-B99C-45CF-B3F9-27F160C41679}" type="datetimeFigureOut">
              <a:rPr lang="fr-FR" smtClean="0"/>
              <a:t>14/08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583432" y="4939414"/>
            <a:ext cx="2394400" cy="28373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418905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1050F1C4-CE79-4FC4-A716-4889E772F5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738049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78063" y="213417"/>
            <a:ext cx="6805137" cy="888206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12428" y="965925"/>
            <a:ext cx="2750147" cy="2733702"/>
          </a:xfrm>
          <a:prstGeom prst="rect">
            <a:avLst/>
          </a:prstGeom>
        </p:spPr>
        <p:txBody>
          <a:bodyPr/>
          <a:lstStyle>
            <a:lvl1pPr>
              <a:defRPr sz="23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3188595" y="965925"/>
            <a:ext cx="2751460" cy="2733702"/>
          </a:xfrm>
          <a:prstGeom prst="rect">
            <a:avLst/>
          </a:prstGeom>
        </p:spPr>
        <p:txBody>
          <a:bodyPr/>
          <a:lstStyle>
            <a:lvl1pPr>
              <a:defRPr sz="23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378063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8DF5C060-B99C-45CF-B3F9-27F160C41679}" type="datetimeFigureOut">
              <a:rPr lang="fr-FR" smtClean="0"/>
              <a:t>14/08/201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2583432" y="4939414"/>
            <a:ext cx="2394400" cy="28373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5418905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1050F1C4-CE79-4FC4-A716-4889E772F5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703588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78063" y="213417"/>
            <a:ext cx="6805137" cy="88820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78063" y="1192911"/>
            <a:ext cx="3340871" cy="49714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00" b="1"/>
            </a:lvl1pPr>
            <a:lvl2pPr marL="368275" indent="0">
              <a:buNone/>
              <a:defRPr sz="1600" b="1"/>
            </a:lvl2pPr>
            <a:lvl3pPr marL="736549" indent="0">
              <a:buNone/>
              <a:defRPr sz="1400" b="1"/>
            </a:lvl3pPr>
            <a:lvl4pPr marL="1104824" indent="0">
              <a:buNone/>
              <a:defRPr sz="1300" b="1"/>
            </a:lvl4pPr>
            <a:lvl5pPr marL="1473098" indent="0">
              <a:buNone/>
              <a:defRPr sz="1300" b="1"/>
            </a:lvl5pPr>
            <a:lvl6pPr marL="1841373" indent="0">
              <a:buNone/>
              <a:defRPr sz="1300" b="1"/>
            </a:lvl6pPr>
            <a:lvl7pPr marL="2209648" indent="0">
              <a:buNone/>
              <a:defRPr sz="1300" b="1"/>
            </a:lvl7pPr>
            <a:lvl8pPr marL="2577922" indent="0">
              <a:buNone/>
              <a:defRPr sz="1300" b="1"/>
            </a:lvl8pPr>
            <a:lvl9pPr marL="2946197" indent="0">
              <a:buNone/>
              <a:defRPr sz="13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378063" y="1690059"/>
            <a:ext cx="3340871" cy="3070480"/>
          </a:xfrm>
          <a:prstGeom prst="rect">
            <a:avLst/>
          </a:prstGeo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3841017" y="1192911"/>
            <a:ext cx="3342183" cy="49714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900" b="1"/>
            </a:lvl1pPr>
            <a:lvl2pPr marL="368275" indent="0">
              <a:buNone/>
              <a:defRPr sz="1600" b="1"/>
            </a:lvl2pPr>
            <a:lvl3pPr marL="736549" indent="0">
              <a:buNone/>
              <a:defRPr sz="1400" b="1"/>
            </a:lvl3pPr>
            <a:lvl4pPr marL="1104824" indent="0">
              <a:buNone/>
              <a:defRPr sz="1300" b="1"/>
            </a:lvl4pPr>
            <a:lvl5pPr marL="1473098" indent="0">
              <a:buNone/>
              <a:defRPr sz="1300" b="1"/>
            </a:lvl5pPr>
            <a:lvl6pPr marL="1841373" indent="0">
              <a:buNone/>
              <a:defRPr sz="1300" b="1"/>
            </a:lvl6pPr>
            <a:lvl7pPr marL="2209648" indent="0">
              <a:buNone/>
              <a:defRPr sz="1300" b="1"/>
            </a:lvl7pPr>
            <a:lvl8pPr marL="2577922" indent="0">
              <a:buNone/>
              <a:defRPr sz="1300" b="1"/>
            </a:lvl8pPr>
            <a:lvl9pPr marL="2946197" indent="0">
              <a:buNone/>
              <a:defRPr sz="13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3841017" y="1690059"/>
            <a:ext cx="3342183" cy="3070480"/>
          </a:xfrm>
          <a:prstGeom prst="rect">
            <a:avLst/>
          </a:prstGeo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378063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8DF5C060-B99C-45CF-B3F9-27F160C41679}" type="datetimeFigureOut">
              <a:rPr lang="fr-FR" smtClean="0"/>
              <a:t>14/08/2012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>
          <a:xfrm>
            <a:off x="2583432" y="4939414"/>
            <a:ext cx="2394400" cy="28373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>
          <a:xfrm>
            <a:off x="5418905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1050F1C4-CE79-4FC4-A716-4889E772F5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56997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78063" y="213417"/>
            <a:ext cx="6805137" cy="888206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378063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8DF5C060-B99C-45CF-B3F9-27F160C41679}" type="datetimeFigureOut">
              <a:rPr lang="fr-FR" smtClean="0"/>
              <a:t>14/08/201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2583432" y="4939414"/>
            <a:ext cx="2394400" cy="28373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5418905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1050F1C4-CE79-4FC4-A716-4889E772F5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60940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378063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8DF5C060-B99C-45CF-B3F9-27F160C41679}" type="datetimeFigureOut">
              <a:rPr lang="fr-FR" smtClean="0"/>
              <a:t>14/08/2012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2583432" y="4939414"/>
            <a:ext cx="2394400" cy="28373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5418905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1050F1C4-CE79-4FC4-A716-4889E772F5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028809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78064" y="212183"/>
            <a:ext cx="2487603" cy="903010"/>
          </a:xfrm>
          <a:prstGeom prst="rect">
            <a:avLst/>
          </a:prstGeom>
        </p:spPr>
        <p:txBody>
          <a:bodyPr anchor="b"/>
          <a:lstStyle>
            <a:lvl1pPr algn="l">
              <a:defRPr sz="16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956244" y="212183"/>
            <a:ext cx="4226956" cy="4548357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defRPr sz="23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378064" y="1115193"/>
            <a:ext cx="2487603" cy="36453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/>
            </a:lvl1pPr>
            <a:lvl2pPr marL="368275" indent="0">
              <a:buNone/>
              <a:defRPr sz="1000"/>
            </a:lvl2pPr>
            <a:lvl3pPr marL="736549" indent="0">
              <a:buNone/>
              <a:defRPr sz="800"/>
            </a:lvl3pPr>
            <a:lvl4pPr marL="1104824" indent="0">
              <a:buNone/>
              <a:defRPr sz="700"/>
            </a:lvl4pPr>
            <a:lvl5pPr marL="1473098" indent="0">
              <a:buNone/>
              <a:defRPr sz="700"/>
            </a:lvl5pPr>
            <a:lvl6pPr marL="1841373" indent="0">
              <a:buNone/>
              <a:defRPr sz="700"/>
            </a:lvl6pPr>
            <a:lvl7pPr marL="2209648" indent="0">
              <a:buNone/>
              <a:defRPr sz="700"/>
            </a:lvl7pPr>
            <a:lvl8pPr marL="2577922" indent="0">
              <a:buNone/>
              <a:defRPr sz="700"/>
            </a:lvl8pPr>
            <a:lvl9pPr marL="2946197" indent="0">
              <a:buNone/>
              <a:defRPr sz="7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378063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8DF5C060-B99C-45CF-B3F9-27F160C41679}" type="datetimeFigureOut">
              <a:rPr lang="fr-FR" smtClean="0"/>
              <a:t>14/08/201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2583432" y="4939414"/>
            <a:ext cx="2394400" cy="28373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5418905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1050F1C4-CE79-4FC4-A716-4889E772F5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76878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482060" y="3730466"/>
            <a:ext cx="4536758" cy="440403"/>
          </a:xfrm>
          <a:prstGeom prst="rect">
            <a:avLst/>
          </a:prstGeom>
        </p:spPr>
        <p:txBody>
          <a:bodyPr anchor="b"/>
          <a:lstStyle>
            <a:lvl1pPr algn="l">
              <a:defRPr sz="16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482060" y="476177"/>
            <a:ext cx="4536758" cy="31975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/>
            </a:lvl1pPr>
            <a:lvl2pPr marL="368275" indent="0">
              <a:buNone/>
              <a:defRPr sz="2300"/>
            </a:lvl2pPr>
            <a:lvl3pPr marL="736549" indent="0">
              <a:buNone/>
              <a:defRPr sz="1900"/>
            </a:lvl3pPr>
            <a:lvl4pPr marL="1104824" indent="0">
              <a:buNone/>
              <a:defRPr sz="1600"/>
            </a:lvl4pPr>
            <a:lvl5pPr marL="1473098" indent="0">
              <a:buNone/>
              <a:defRPr sz="1600"/>
            </a:lvl5pPr>
            <a:lvl6pPr marL="1841373" indent="0">
              <a:buNone/>
              <a:defRPr sz="1600"/>
            </a:lvl6pPr>
            <a:lvl7pPr marL="2209648" indent="0">
              <a:buNone/>
              <a:defRPr sz="1600"/>
            </a:lvl7pPr>
            <a:lvl8pPr marL="2577922" indent="0">
              <a:buNone/>
              <a:defRPr sz="1600"/>
            </a:lvl8pPr>
            <a:lvl9pPr marL="2946197" indent="0">
              <a:buNone/>
              <a:defRPr sz="16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482060" y="4170869"/>
            <a:ext cx="4536758" cy="6254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/>
            </a:lvl1pPr>
            <a:lvl2pPr marL="368275" indent="0">
              <a:buNone/>
              <a:defRPr sz="1000"/>
            </a:lvl2pPr>
            <a:lvl3pPr marL="736549" indent="0">
              <a:buNone/>
              <a:defRPr sz="800"/>
            </a:lvl3pPr>
            <a:lvl4pPr marL="1104824" indent="0">
              <a:buNone/>
              <a:defRPr sz="700"/>
            </a:lvl4pPr>
            <a:lvl5pPr marL="1473098" indent="0">
              <a:buNone/>
              <a:defRPr sz="700"/>
            </a:lvl5pPr>
            <a:lvl6pPr marL="1841373" indent="0">
              <a:buNone/>
              <a:defRPr sz="700"/>
            </a:lvl6pPr>
            <a:lvl7pPr marL="2209648" indent="0">
              <a:buNone/>
              <a:defRPr sz="700"/>
            </a:lvl7pPr>
            <a:lvl8pPr marL="2577922" indent="0">
              <a:buNone/>
              <a:defRPr sz="700"/>
            </a:lvl8pPr>
            <a:lvl9pPr marL="2946197" indent="0">
              <a:buNone/>
              <a:defRPr sz="7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378063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8DF5C060-B99C-45CF-B3F9-27F160C41679}" type="datetimeFigureOut">
              <a:rPr lang="fr-FR" smtClean="0"/>
              <a:t>14/08/201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2583432" y="4939414"/>
            <a:ext cx="2394400" cy="28373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5418905" y="4939414"/>
            <a:ext cx="1764295" cy="283733"/>
          </a:xfrm>
          <a:prstGeom prst="rect">
            <a:avLst/>
          </a:prstGeom>
        </p:spPr>
        <p:txBody>
          <a:bodyPr/>
          <a:lstStyle/>
          <a:p>
            <a:fld id="{1050F1C4-CE79-4FC4-A716-4889E772F5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76086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561263" cy="5329238"/>
          </a:xfrm>
          <a:prstGeom prst="rect">
            <a:avLst/>
          </a:prstGeom>
        </p:spPr>
      </p:pic>
      <p:sp>
        <p:nvSpPr>
          <p:cNvPr id="8" name="Line 8"/>
          <p:cNvSpPr>
            <a:spLocks noChangeShapeType="1"/>
          </p:cNvSpPr>
          <p:nvPr userDrawn="1"/>
        </p:nvSpPr>
        <p:spPr bwMode="auto">
          <a:xfrm flipV="1">
            <a:off x="0" y="987137"/>
            <a:ext cx="7561263" cy="0"/>
          </a:xfrm>
          <a:prstGeom prst="line">
            <a:avLst/>
          </a:prstGeom>
          <a:noFill/>
          <a:ln w="9525">
            <a:solidFill>
              <a:srgbClr val="58474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9" name="Line 3"/>
          <p:cNvSpPr>
            <a:spLocks noChangeShapeType="1"/>
          </p:cNvSpPr>
          <p:nvPr userDrawn="1"/>
        </p:nvSpPr>
        <p:spPr bwMode="auto">
          <a:xfrm>
            <a:off x="2844527" y="0"/>
            <a:ext cx="0" cy="987137"/>
          </a:xfrm>
          <a:prstGeom prst="line">
            <a:avLst/>
          </a:prstGeom>
          <a:noFill/>
          <a:ln w="9525">
            <a:solidFill>
              <a:srgbClr val="58474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pic>
        <p:nvPicPr>
          <p:cNvPr id="10" name="Image 1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412"/>
          <a:stretch>
            <a:fillRect/>
          </a:stretch>
        </p:blipFill>
        <p:spPr bwMode="auto">
          <a:xfrm>
            <a:off x="0" y="-17463"/>
            <a:ext cx="1332359" cy="100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age 11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065"/>
          <a:stretch>
            <a:fillRect/>
          </a:stretch>
        </p:blipFill>
        <p:spPr bwMode="auto">
          <a:xfrm>
            <a:off x="1548383" y="4763"/>
            <a:ext cx="1166172" cy="1075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2055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736549" rtl="0" eaLnBrk="1" latinLnBrk="0" hangingPunct="1"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6206" indent="-276206" algn="l" defTabSz="736549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98446" indent="-230172" algn="l" defTabSz="736549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920687" indent="-184137" algn="l" defTabSz="736549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288961" indent="-184137" algn="l" defTabSz="736549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7236" indent="-184137" algn="l" defTabSz="736549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25510" indent="-184137" algn="l" defTabSz="73654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93785" indent="-184137" algn="l" defTabSz="73654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62060" indent="-184137" algn="l" defTabSz="73654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30334" indent="-184137" algn="l" defTabSz="73654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365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8275" algn="l" defTabSz="7365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36549" algn="l" defTabSz="7365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04824" algn="l" defTabSz="7365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73098" algn="l" defTabSz="7365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41373" algn="l" defTabSz="7365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09648" algn="l" defTabSz="7365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7922" algn="l" defTabSz="7365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46197" algn="l" defTabSz="7365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F:\HR CLAIRE\SHOOTING SCENRIO DE SERVICE MAI 2012\RETOUCHE03\RETOUCHE03\DSC768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8" y="1961307"/>
            <a:ext cx="2834380" cy="1885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1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88543" y="223024"/>
            <a:ext cx="4481513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fr-FR" sz="2000" b="0" i="0" dirty="0" smtClean="0">
                <a:solidFill>
                  <a:srgbClr val="B5A692"/>
                </a:solidFill>
                <a:latin typeface="Century Gothic" pitchFamily="18" charset="0"/>
              </a:rPr>
              <a:t>SALES SCENARIO ROLE PLAYS            </a:t>
            </a:r>
            <a:r>
              <a:rPr lang="fr-FR" sz="1100" b="0" i="0" dirty="0" smtClean="0">
                <a:solidFill>
                  <a:srgbClr val="FFFFFF"/>
                </a:solidFill>
                <a:latin typeface="Century Gothic" pitchFamily="18" charset="0"/>
              </a:rPr>
              <a:t>CASE 1: DARK SPOTS, REDNESS, IMPERFECTIONS,</a:t>
            </a:r>
          </a:p>
          <a:p>
            <a:pPr algn="r"/>
            <a:r>
              <a:rPr lang="fr-FR" sz="1100" b="0" i="0" dirty="0" smtClean="0">
                <a:solidFill>
                  <a:srgbClr val="FFFFFF"/>
                </a:solidFill>
                <a:latin typeface="Century Gothic" pitchFamily="18" charset="0"/>
              </a:rPr>
              <a:t>DEEP WRINKLES, LOSS OF VOLUME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925043" y="1552555"/>
            <a:ext cx="4600004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b="0" i="0" dirty="0" smtClean="0">
                <a:solidFill>
                  <a:srgbClr val="FFFFFF"/>
                </a:solidFill>
                <a:latin typeface="Century Gothic" pitchFamily="18" charset="0"/>
              </a:rPr>
              <a:t>CASE 1: </a:t>
            </a:r>
          </a:p>
          <a:p>
            <a:pPr algn="ctr"/>
            <a:endParaRPr lang="fr-FR" sz="2000" b="0" i="0" dirty="0" smtClean="0">
              <a:solidFill>
                <a:srgbClr val="FFFFFF"/>
              </a:solidFill>
              <a:latin typeface="Century Gothic" pitchFamily="18" charset="0"/>
            </a:endParaRP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CUSTOMER</a:t>
            </a:r>
          </a:p>
          <a:p>
            <a:pPr algn="ctr"/>
            <a:r>
              <a:rPr lang="fr-FR" sz="2000" dirty="0" smtClean="0">
                <a:solidFill>
                  <a:srgbClr val="FFFFFF"/>
                </a:solidFill>
                <a:latin typeface="Century Gothic" pitchFamily="18" charset="0"/>
              </a:rPr>
              <a:t>CONCERNS</a:t>
            </a:r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: </a:t>
            </a:r>
          </a:p>
          <a:p>
            <a:pPr algn="ctr"/>
            <a:endParaRPr lang="fr-FR" sz="2000" dirty="0">
              <a:solidFill>
                <a:schemeClr val="bg1"/>
              </a:solidFill>
              <a:latin typeface="Century Gothic" pitchFamily="34" charset="0"/>
            </a:endParaRP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DARK SPOTS,  </a:t>
            </a: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REDNESS,</a:t>
            </a: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 IMPERFECTIONS,</a:t>
            </a: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DEEP WRINKLES  </a:t>
            </a: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LOSS OF VOLUME </a:t>
            </a:r>
          </a:p>
          <a:p>
            <a:pPr algn="ctr"/>
            <a:endParaRPr lang="fr-FR" sz="2000" dirty="0">
              <a:solidFill>
                <a:schemeClr val="bg1"/>
              </a:solidFill>
              <a:latin typeface="Century Gothic" pitchFamily="34" charset="0"/>
            </a:endParaRPr>
          </a:p>
          <a:p>
            <a:pPr algn="ctr"/>
            <a:endParaRPr lang="fr-FR" sz="2000" dirty="0">
              <a:solidFill>
                <a:schemeClr val="bg1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41693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7561263" cy="5329238"/>
          </a:xfrm>
          <a:prstGeom prst="rect">
            <a:avLst/>
          </a:prstGeom>
        </p:spPr>
      </p:pic>
      <p:pic>
        <p:nvPicPr>
          <p:cNvPr id="5" name="Imag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412"/>
          <a:stretch>
            <a:fillRect/>
          </a:stretch>
        </p:blipFill>
        <p:spPr bwMode="auto">
          <a:xfrm>
            <a:off x="2684879" y="1656507"/>
            <a:ext cx="2196528" cy="1656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065"/>
          <a:stretch>
            <a:fillRect/>
          </a:stretch>
        </p:blipFill>
        <p:spPr bwMode="auto">
          <a:xfrm>
            <a:off x="2988543" y="2996922"/>
            <a:ext cx="1584176" cy="1461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57073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F:\HR CLAIRE\SHOOTING SCENRIO DE SERVICE MAI 2012\RETOUCHE03\RETOUCHE03\DSC768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8" y="1961307"/>
            <a:ext cx="2834380" cy="1885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1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88543" y="223024"/>
            <a:ext cx="4481513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fr-FR" sz="2000" dirty="0">
                <a:solidFill>
                  <a:srgbClr val="B5A692"/>
                </a:solidFill>
                <a:latin typeface="Century Gothic" pitchFamily="18" charset="0"/>
              </a:rPr>
              <a:t>SALES SCENARIO ROLE PLAYS </a:t>
            </a:r>
            <a:r>
              <a:rPr lang="fr-FR" sz="2000" dirty="0" smtClean="0">
                <a:solidFill>
                  <a:srgbClr val="B5A692"/>
                </a:solidFill>
                <a:latin typeface="Century Gothic" pitchFamily="18" charset="0"/>
              </a:rPr>
              <a:t>        </a:t>
            </a:r>
            <a:r>
              <a:rPr lang="fr-FR" sz="1100" b="0" i="0" dirty="0" smtClean="0">
                <a:solidFill>
                  <a:srgbClr val="FFFFFF"/>
                </a:solidFill>
                <a:latin typeface="Century Gothic" pitchFamily="18" charset="0"/>
              </a:rPr>
              <a:t>CASE 2: DARK SPOTS, REDNESS, SKIN SAGGING,</a:t>
            </a:r>
          </a:p>
          <a:p>
            <a:pPr algn="r"/>
            <a:r>
              <a:rPr lang="fr-FR" sz="1100" b="0" i="0" dirty="0" smtClean="0">
                <a:solidFill>
                  <a:srgbClr val="FFFFFF"/>
                </a:solidFill>
                <a:latin typeface="Century Gothic" pitchFamily="18" charset="0"/>
              </a:rPr>
              <a:t>LACK OF RADIANCE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925043" y="1552555"/>
            <a:ext cx="4600004" cy="37240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b="0" i="0" dirty="0" smtClean="0">
                <a:solidFill>
                  <a:srgbClr val="FFFFFF"/>
                </a:solidFill>
                <a:latin typeface="Century Gothic" pitchFamily="18" charset="0"/>
              </a:rPr>
              <a:t>CASE 2: </a:t>
            </a:r>
          </a:p>
          <a:p>
            <a:pPr algn="ctr"/>
            <a:endParaRPr lang="fr-FR" sz="2800" dirty="0" smtClean="0">
              <a:solidFill>
                <a:schemeClr val="bg1"/>
              </a:solidFill>
              <a:latin typeface="Century Gothic" pitchFamily="34" charset="0"/>
            </a:endParaRP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CUSTOMER</a:t>
            </a:r>
          </a:p>
          <a:p>
            <a:pPr algn="ctr"/>
            <a:r>
              <a:rPr lang="fr-FR" sz="2000" dirty="0" smtClean="0">
                <a:solidFill>
                  <a:srgbClr val="FFFFFF"/>
                </a:solidFill>
                <a:latin typeface="Century Gothic" pitchFamily="18" charset="0"/>
              </a:rPr>
              <a:t>CONCERNS</a:t>
            </a:r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: </a:t>
            </a:r>
          </a:p>
          <a:p>
            <a:pPr algn="ctr"/>
            <a:endParaRPr lang="fr-FR" sz="2000" dirty="0">
              <a:solidFill>
                <a:schemeClr val="bg1"/>
              </a:solidFill>
              <a:latin typeface="Century Gothic" pitchFamily="34" charset="0"/>
            </a:endParaRP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DARK SPOTS,  </a:t>
            </a: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REDNESS, </a:t>
            </a: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SKIN SAGGING, </a:t>
            </a: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LACK OF RADIANCE</a:t>
            </a:r>
          </a:p>
          <a:p>
            <a:pPr algn="ctr"/>
            <a:r>
              <a:rPr lang="fr-FR" sz="2000" dirty="0" smtClean="0">
                <a:solidFill>
                  <a:schemeClr val="bg1"/>
                </a:solidFill>
                <a:latin typeface="Century Gothic" pitchFamily="34" charset="0"/>
              </a:rPr>
              <a:t> </a:t>
            </a:r>
            <a:endParaRPr lang="fr-FR" sz="2000" dirty="0">
              <a:solidFill>
                <a:schemeClr val="bg1"/>
              </a:solidFill>
              <a:latin typeface="Century Gothic" pitchFamily="34" charset="0"/>
            </a:endParaRPr>
          </a:p>
          <a:p>
            <a:pPr algn="ctr"/>
            <a:endParaRPr lang="fr-FR" sz="2000" dirty="0">
              <a:solidFill>
                <a:schemeClr val="bg1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55809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7561263" cy="5329238"/>
          </a:xfrm>
          <a:prstGeom prst="rect">
            <a:avLst/>
          </a:prstGeom>
        </p:spPr>
      </p:pic>
      <p:pic>
        <p:nvPicPr>
          <p:cNvPr id="4" name="Imag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412"/>
          <a:stretch>
            <a:fillRect/>
          </a:stretch>
        </p:blipFill>
        <p:spPr bwMode="auto">
          <a:xfrm>
            <a:off x="2684879" y="1656507"/>
            <a:ext cx="2196528" cy="1656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065"/>
          <a:stretch>
            <a:fillRect/>
          </a:stretch>
        </p:blipFill>
        <p:spPr bwMode="auto">
          <a:xfrm>
            <a:off x="2988543" y="2996922"/>
            <a:ext cx="1584176" cy="1461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98139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F:\HR CLAIRE\SHOOTING SCENRIO DE SERVICE MAI 2012\RETOUCHE03\RETOUCHE03\DSC768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8" y="1961307"/>
            <a:ext cx="2834380" cy="1885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1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88543" y="223024"/>
            <a:ext cx="4481513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fr-FR" sz="2000" dirty="0">
                <a:solidFill>
                  <a:srgbClr val="B5A692"/>
                </a:solidFill>
                <a:latin typeface="Century Gothic" pitchFamily="18" charset="0"/>
              </a:rPr>
              <a:t>SALES SCENARIO ROLE PLAYS </a:t>
            </a:r>
            <a:r>
              <a:rPr lang="fr-FR" sz="2000" dirty="0" smtClean="0">
                <a:solidFill>
                  <a:srgbClr val="B5A692"/>
                </a:solidFill>
                <a:latin typeface="Century Gothic" pitchFamily="18" charset="0"/>
              </a:rPr>
              <a:t>        </a:t>
            </a:r>
            <a:r>
              <a:rPr lang="fr-FR" sz="1100" b="0" i="0" dirty="0" smtClean="0">
                <a:solidFill>
                  <a:srgbClr val="FFFFFF"/>
                </a:solidFill>
                <a:latin typeface="Century Gothic" pitchFamily="18" charset="0"/>
              </a:rPr>
              <a:t>CASE 3: DEEP WRINKLES, LOSS OF VOLUME, LACK OF RADIANCE,  SKIN SAGGING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925043" y="1552555"/>
            <a:ext cx="4600004" cy="37240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b="0" i="0" dirty="0" smtClean="0">
                <a:solidFill>
                  <a:srgbClr val="FFFFFF"/>
                </a:solidFill>
                <a:latin typeface="Century Gothic" pitchFamily="18" charset="0"/>
              </a:rPr>
              <a:t>CASE 3: </a:t>
            </a:r>
          </a:p>
          <a:p>
            <a:pPr algn="ctr"/>
            <a:endParaRPr lang="fr-FR" sz="2800" dirty="0" smtClean="0">
              <a:solidFill>
                <a:schemeClr val="bg1"/>
              </a:solidFill>
              <a:latin typeface="Century Gothic" pitchFamily="34" charset="0"/>
            </a:endParaRP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CUSTOMER</a:t>
            </a:r>
          </a:p>
          <a:p>
            <a:pPr algn="ctr"/>
            <a:r>
              <a:rPr lang="fr-FR" sz="2000" dirty="0" smtClean="0">
                <a:solidFill>
                  <a:srgbClr val="FFFFFF"/>
                </a:solidFill>
                <a:latin typeface="Century Gothic" pitchFamily="18" charset="0"/>
              </a:rPr>
              <a:t>CONCERNS</a:t>
            </a:r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: </a:t>
            </a:r>
          </a:p>
          <a:p>
            <a:pPr algn="ctr"/>
            <a:endParaRPr lang="fr-FR" sz="2000" dirty="0">
              <a:solidFill>
                <a:schemeClr val="bg1"/>
              </a:solidFill>
              <a:latin typeface="Century Gothic" pitchFamily="34" charset="0"/>
            </a:endParaRP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DEEP WRINKLES  </a:t>
            </a: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LOSS OF VOLUME, </a:t>
            </a: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LACK OF RADIANCE, </a:t>
            </a: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SKIN SAGGING</a:t>
            </a:r>
          </a:p>
          <a:p>
            <a:pPr algn="ctr"/>
            <a:r>
              <a:rPr lang="fr-FR" sz="2000" dirty="0" smtClean="0">
                <a:solidFill>
                  <a:schemeClr val="bg1"/>
                </a:solidFill>
                <a:latin typeface="Century Gothic" pitchFamily="34" charset="0"/>
              </a:rPr>
              <a:t> </a:t>
            </a:r>
            <a:endParaRPr lang="fr-FR" sz="2000" dirty="0">
              <a:solidFill>
                <a:schemeClr val="bg1"/>
              </a:solidFill>
              <a:latin typeface="Century Gothic" pitchFamily="34" charset="0"/>
            </a:endParaRPr>
          </a:p>
          <a:p>
            <a:pPr algn="ctr"/>
            <a:endParaRPr lang="fr-FR" sz="2000" dirty="0">
              <a:solidFill>
                <a:schemeClr val="bg1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71857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7561263" cy="5329238"/>
          </a:xfrm>
          <a:prstGeom prst="rect">
            <a:avLst/>
          </a:prstGeom>
        </p:spPr>
      </p:pic>
      <p:pic>
        <p:nvPicPr>
          <p:cNvPr id="8" name="Imag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412"/>
          <a:stretch>
            <a:fillRect/>
          </a:stretch>
        </p:blipFill>
        <p:spPr bwMode="auto">
          <a:xfrm>
            <a:off x="2684879" y="1656507"/>
            <a:ext cx="2196528" cy="1656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065"/>
          <a:stretch>
            <a:fillRect/>
          </a:stretch>
        </p:blipFill>
        <p:spPr bwMode="auto">
          <a:xfrm>
            <a:off x="2988543" y="2996922"/>
            <a:ext cx="1584176" cy="1461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90299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F:\HR CLAIRE\SHOOTING SCENRIO DE SERVICE MAI 2012\RETOUCHE03\RETOUCHE03\DSC768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8" y="1961307"/>
            <a:ext cx="2834380" cy="1885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1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88543" y="223024"/>
            <a:ext cx="4481513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r"/>
            <a:r>
              <a:rPr lang="fr-FR" sz="2000" dirty="0">
                <a:solidFill>
                  <a:srgbClr val="B5A692"/>
                </a:solidFill>
                <a:latin typeface="Century Gothic" pitchFamily="18" charset="0"/>
              </a:rPr>
              <a:t>SALES SCENARIO ROLE PLAYS </a:t>
            </a:r>
            <a:r>
              <a:rPr lang="fr-FR" sz="2000" dirty="0" smtClean="0">
                <a:solidFill>
                  <a:srgbClr val="B5A692"/>
                </a:solidFill>
                <a:latin typeface="Century Gothic" pitchFamily="18" charset="0"/>
              </a:rPr>
              <a:t>         </a:t>
            </a:r>
            <a:r>
              <a:rPr lang="fr-FR" sz="1100" b="0" i="0" dirty="0" smtClean="0">
                <a:solidFill>
                  <a:srgbClr val="FFFFFF"/>
                </a:solidFill>
                <a:latin typeface="Century Gothic" pitchFamily="18" charset="0"/>
              </a:rPr>
              <a:t>CASE 4: DEEP WRINKLES, LOSS OF VOLUME,</a:t>
            </a:r>
          </a:p>
          <a:p>
            <a:pPr algn="r"/>
            <a:r>
              <a:rPr lang="fr-FR" sz="1100" b="0" i="0" dirty="0" smtClean="0">
                <a:solidFill>
                  <a:srgbClr val="FFFFFF"/>
                </a:solidFill>
                <a:latin typeface="Century Gothic" pitchFamily="18" charset="0"/>
              </a:rPr>
              <a:t>IRREGULAR SKIN TEXTURE, FINE LINES 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925043" y="1552555"/>
            <a:ext cx="4600004" cy="37240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b="0" i="0" dirty="0" smtClean="0">
                <a:solidFill>
                  <a:srgbClr val="FFFFFF"/>
                </a:solidFill>
                <a:latin typeface="Century Gothic" pitchFamily="18" charset="0"/>
              </a:rPr>
              <a:t>CASE 4: </a:t>
            </a:r>
          </a:p>
          <a:p>
            <a:pPr algn="ctr"/>
            <a:endParaRPr lang="fr-FR" sz="2800" dirty="0" smtClean="0">
              <a:solidFill>
                <a:schemeClr val="bg1"/>
              </a:solidFill>
              <a:latin typeface="Century Gothic" pitchFamily="34" charset="0"/>
            </a:endParaRP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CUSTOMER</a:t>
            </a:r>
          </a:p>
          <a:p>
            <a:pPr algn="ctr"/>
            <a:r>
              <a:rPr lang="fr-FR" sz="2000" dirty="0" smtClean="0">
                <a:solidFill>
                  <a:srgbClr val="FFFFFF"/>
                </a:solidFill>
                <a:latin typeface="Century Gothic" pitchFamily="18" charset="0"/>
              </a:rPr>
              <a:t>CONCERNS: </a:t>
            </a:r>
            <a:endParaRPr lang="fr-FR" sz="2000" b="0" i="0" dirty="0" smtClean="0">
              <a:solidFill>
                <a:srgbClr val="FFFFFF"/>
              </a:solidFill>
              <a:latin typeface="Century Gothic" pitchFamily="18" charset="0"/>
            </a:endParaRPr>
          </a:p>
          <a:p>
            <a:pPr algn="ctr"/>
            <a:endParaRPr lang="fr-FR" sz="2000" dirty="0">
              <a:solidFill>
                <a:schemeClr val="bg1"/>
              </a:solidFill>
              <a:latin typeface="Century Gothic" pitchFamily="34" charset="0"/>
            </a:endParaRP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DEEP WRINKLES  </a:t>
            </a: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LOSS OF VOLUME, </a:t>
            </a: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IRREGULAR SKIN TEXTURE, </a:t>
            </a:r>
          </a:p>
          <a:p>
            <a:pPr algn="ctr"/>
            <a:r>
              <a:rPr lang="fr-FR" sz="2000" b="0" i="0" dirty="0" smtClean="0">
                <a:solidFill>
                  <a:srgbClr val="FFFFFF"/>
                </a:solidFill>
                <a:latin typeface="Century Gothic" pitchFamily="18" charset="0"/>
              </a:rPr>
              <a:t>FINE LINES </a:t>
            </a:r>
          </a:p>
          <a:p>
            <a:pPr algn="ctr"/>
            <a:r>
              <a:rPr lang="fr-FR" sz="2000" dirty="0" smtClean="0">
                <a:solidFill>
                  <a:schemeClr val="bg1"/>
                </a:solidFill>
                <a:latin typeface="Century Gothic" pitchFamily="34" charset="0"/>
              </a:rPr>
              <a:t> </a:t>
            </a:r>
            <a:endParaRPr lang="fr-FR" sz="2000" dirty="0">
              <a:solidFill>
                <a:schemeClr val="bg1"/>
              </a:solidFill>
              <a:latin typeface="Century Gothic" pitchFamily="34" charset="0"/>
            </a:endParaRPr>
          </a:p>
          <a:p>
            <a:pPr algn="ctr"/>
            <a:endParaRPr lang="fr-FR" sz="2000" dirty="0">
              <a:solidFill>
                <a:schemeClr val="bg1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75570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7561263" cy="5329238"/>
          </a:xfrm>
          <a:prstGeom prst="rect">
            <a:avLst/>
          </a:prstGeom>
        </p:spPr>
      </p:pic>
      <p:pic>
        <p:nvPicPr>
          <p:cNvPr id="5" name="Imag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412"/>
          <a:stretch>
            <a:fillRect/>
          </a:stretch>
        </p:blipFill>
        <p:spPr bwMode="auto">
          <a:xfrm>
            <a:off x="2684879" y="1656507"/>
            <a:ext cx="2196528" cy="1656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065"/>
          <a:stretch>
            <a:fillRect/>
          </a:stretch>
        </p:blipFill>
        <p:spPr bwMode="auto">
          <a:xfrm>
            <a:off x="2988543" y="2996922"/>
            <a:ext cx="1584176" cy="1461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5471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6H5KNLb0is8wAp6pgF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6H5KNLb0is8wAp6pgF5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6H5KNLb0is8wAp6pgF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6H5KNLb0is8wAp6pgF5Q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</TotalTime>
  <Words>141</Words>
  <Application>Microsoft Office PowerPoint</Application>
  <PresentationFormat>Personnalisé</PresentationFormat>
  <Paragraphs>47</Paragraphs>
  <Slides>8</Slides>
  <Notes>0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9" baseType="lpstr">
      <vt:lpstr>Thème Offic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L'Oréa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IMBERT Claire</dc:creator>
  <cp:lastModifiedBy>Susanna Fiorini</cp:lastModifiedBy>
  <cp:revision>7</cp:revision>
  <dcterms:created xsi:type="dcterms:W3CDTF">2012-07-15T16:19:42Z</dcterms:created>
  <dcterms:modified xsi:type="dcterms:W3CDTF">2012-08-14T07:51:24Z</dcterms:modified>
</cp:coreProperties>
</file>